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sldIdLst>
    <p:sldId id="2147473317" r:id="rId2"/>
    <p:sldId id="309" r:id="rId3"/>
    <p:sldId id="280" r:id="rId4"/>
    <p:sldId id="279" r:id="rId5"/>
    <p:sldId id="289" r:id="rId6"/>
    <p:sldId id="292" r:id="rId7"/>
    <p:sldId id="302" r:id="rId8"/>
    <p:sldId id="299" r:id="rId9"/>
    <p:sldId id="297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37"/>
    <p:restoredTop sz="96512"/>
  </p:normalViewPr>
  <p:slideViewPr>
    <p:cSldViewPr snapToGrid="0">
      <p:cViewPr varScale="1">
        <p:scale>
          <a:sx n="96" d="100"/>
          <a:sy n="96" d="100"/>
        </p:scale>
        <p:origin x="192" y="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03D667-E487-6F4B-8144-A7EF3CE3C122}" type="datetimeFigureOut">
              <a:rPr lang="en-US" smtClean="0"/>
              <a:t>8/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AF28F4-C3BA-0940-9934-B70786D51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507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i everyone, today Sarah and I are going ...</a:t>
            </a:r>
          </a:p>
        </p:txBody>
      </p:sp>
    </p:spTree>
    <p:extLst>
      <p:ext uri="{BB962C8B-B14F-4D97-AF65-F5344CB8AC3E}">
        <p14:creationId xmlns:p14="http://schemas.microsoft.com/office/powerpoint/2010/main" val="2861344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28104F-AB6B-BAD6-6309-93189B8474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E960A5-076A-2704-FC7C-9C3DEBA04F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B2D973-D1D3-5F2C-8702-0759C7A12A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EB93A0-8C95-90C2-FE3B-DCBCCFF52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671C72-BB7F-E017-5799-B75DC36F4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65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E5ED6-C071-D513-0828-B1A55E7C2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E6BA7D-79A7-AA14-3AB3-52828E5103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33AADD-B8DE-BE19-9928-25DCC7D54C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A38386-36FB-F19E-809F-3CE81CE0F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3D236E-9849-256F-455D-7EA4842D9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021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9ECDA3F-FE17-EACC-4E11-FB6AD05AEE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240381-D711-B06F-A61D-84D32631B2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8E03A0-B30A-BFB4-C2DB-F61EC463C4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27B74F-0955-532F-0093-3536EE874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AAEBFB-F24E-CC24-EE88-03F3FAA83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033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6F970B-FFC8-D64C-8A10-1CEF766073F3}" type="datetime1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Genome Editing Workshop /// February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5448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A4D1F-4761-5631-0280-B067BEA60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81235C-35EC-5BDD-E8ED-D98C3CBF66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9225B7-8A0C-E846-771F-906B186A4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215282-E2C3-719A-1B27-C4A85D9E18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FCD4F6-8D62-C577-9E9E-3798B78CD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486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20E09F-8D1B-847E-A4BF-E3A373060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54EBFF-11BA-86CB-1DEF-4BACA63F2B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EA78F4-3E9B-7AD9-F888-623998914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D15D65-9DA3-B0B1-D950-A1E497132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B44D20-EEBF-3ABA-E496-60090D92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8267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F0CAE-46CD-46EF-7E22-1341E0B6C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109CB1-A850-574F-D83B-C83FD88D09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536B5-C2AE-203D-2634-34B4D85BDE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2583D7-5B49-2867-9193-1C6AF2427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A896C9-31A3-E3DC-A5F3-A097191B5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CA9D17-1E9B-FDC4-EC7D-2E62853CD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712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0DBA5-6ADC-5E91-2D1B-4E8F2F32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6A9D12-D1BC-E63A-2C22-15B2147CA6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2AB5EF-72E6-05E4-51A4-4972A3D50C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7C816C-9EDF-CA53-7FC2-432301EB16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0ADFD2-37F6-A6A6-434E-078DE88EE1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5BEBCE-F28B-224B-37F7-617AB0051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A8EE38-91EF-09EB-A311-E57D22CC4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69080A-829B-0724-0F86-EAD6F00FB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856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8849C-1652-98E3-B1CF-7847157E4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D62EE2-1587-96EE-88A3-E426A2092A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97C2C8-24A0-A843-EAB9-BF107F204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B86E91-834A-AEA5-FA5D-E4C4C71FE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838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C506C5-7242-DC7E-0B25-8B0F13AF4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11865B-ACC6-BB7B-9242-123040919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A9CBAF-D21A-C66C-BA3E-A7244740F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8467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469FB-FD1B-F641-E679-76B41A42A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3D75F-6BB0-071A-3337-1FD5DB68FA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47D59C-AFDC-FFC1-C8AA-5130A6E02C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754C6C-3C1D-009A-A36F-03522D0790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9AFF4C-EC5D-BEEF-AF6B-39EB11A3F5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1803E-3DC4-F128-D0E6-255F3E953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6503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D2152F-4FBD-1F7A-A1A0-40E5EF4A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17469E-A95C-357F-AE33-945133B73D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53E129-1725-4160-C7FC-639CCEBFA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9A9274-9914-EFA5-3937-15B576484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0578D6-244C-6415-DFF9-05F0BE962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016197-C666-1BBD-4BD9-73488D7E0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8E2F0B-4855-EE3F-EFDE-67139EC54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DE6228-93D8-E11C-D7E8-B4010E5DCC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3144C8-8911-4F13-A24B-60149902B7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756870-5473-9C4E-B12B-B1300638A7DD}" type="datetimeFigureOut">
              <a:rPr lang="en-US" smtClean="0"/>
              <a:t>8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A3C2C-8B4A-7192-350E-2E5B96A7FD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68774C-44CC-9970-671B-5334013556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2F2A55-592B-184A-B1DE-CC367421623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77F0BC-570E-30AD-48A5-FE3E43EA8EA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758488" y="6459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777121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Genome Editing Workshop /// February 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710438" y="1737813"/>
            <a:ext cx="3620828" cy="1440000"/>
          </a:xfrm>
        </p:spPr>
        <p:txBody>
          <a:bodyPr>
            <a:normAutofit fontScale="90000"/>
          </a:bodyPr>
          <a:lstStyle/>
          <a:p>
            <a:r>
              <a:rPr lang="en-US" dirty="0"/>
              <a:t>Single cell sequence data to facilitate Maize kernel row number gene discovery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0160" y="4548267"/>
            <a:ext cx="2915519" cy="1080000"/>
          </a:xfrm>
        </p:spPr>
        <p:txBody>
          <a:bodyPr>
            <a:normAutofit/>
          </a:bodyPr>
          <a:lstStyle/>
          <a:p>
            <a:r>
              <a:rPr lang="en-US" dirty="0"/>
              <a:t>Lin Du</a:t>
            </a:r>
          </a:p>
        </p:txBody>
      </p:sp>
      <p:pic>
        <p:nvPicPr>
          <p:cNvPr id="25" name="Picture Placeholder 24" descr="A picture containing coelenterate, decorated&#10;&#10;Description automatically generated">
            <a:extLst>
              <a:ext uri="{FF2B5EF4-FFF2-40B4-BE49-F238E27FC236}">
                <a16:creationId xmlns:a16="http://schemas.microsoft.com/office/drawing/2014/main" id="{18FEA373-7034-9B94-E8EB-F48A169A662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28203" r="28203"/>
          <a:stretch>
            <a:fillRect/>
          </a:stretch>
        </p:blipFill>
        <p:spPr/>
      </p:pic>
      <p:pic>
        <p:nvPicPr>
          <p:cNvPr id="14" name="Picture Placeholder 13" descr="Diagram&#10;&#10;Description automatically generated">
            <a:extLst>
              <a:ext uri="{FF2B5EF4-FFF2-40B4-BE49-F238E27FC236}">
                <a16:creationId xmlns:a16="http://schemas.microsoft.com/office/drawing/2014/main" id="{DD633776-5063-D137-FA59-801DD0FABFA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/>
          <a:srcRect l="30579" r="30579"/>
          <a:stretch>
            <a:fillRect/>
          </a:stretch>
        </p:blipFill>
        <p:spPr/>
      </p:pic>
      <p:pic>
        <p:nvPicPr>
          <p:cNvPr id="21" name="Picture Placeholder 20" descr="A close up of a dandelion flower&#10;&#10;Description automatically generated with medium confidence">
            <a:extLst>
              <a:ext uri="{FF2B5EF4-FFF2-40B4-BE49-F238E27FC236}">
                <a16:creationId xmlns:a16="http://schemas.microsoft.com/office/drawing/2014/main" id="{8AB7B47B-0E92-DB52-7A4A-7DB74908084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5"/>
          <a:srcRect l="22467" r="22467"/>
          <a:stretch>
            <a:fillRect/>
          </a:stretch>
        </p:blipFill>
        <p:spPr/>
      </p:pic>
      <p:cxnSp>
        <p:nvCxnSpPr>
          <p:cNvPr id="7" name="Straight Connector 6"/>
          <p:cNvCxnSpPr/>
          <p:nvPr/>
        </p:nvCxnSpPr>
        <p:spPr bwMode="gray">
          <a:xfrm flipH="1">
            <a:off x="6788617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087026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9567516" y="-724"/>
            <a:ext cx="1253994" cy="646477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91FB929-DD67-7499-3D8B-0CE69FCD6D2F}"/>
              </a:ext>
            </a:extLst>
          </p:cNvPr>
          <p:cNvSpPr txBox="1"/>
          <p:nvPr/>
        </p:nvSpPr>
        <p:spPr>
          <a:xfrm>
            <a:off x="179362" y="5342587"/>
            <a:ext cx="39771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Thanks to Keith Decker, </a:t>
            </a:r>
            <a:r>
              <a:rPr lang="en-US" sz="2000" dirty="0" err="1">
                <a:solidFill>
                  <a:schemeClr val="bg1"/>
                </a:solidFill>
              </a:rPr>
              <a:t>Jiani</a:t>
            </a:r>
            <a:r>
              <a:rPr lang="en-US" sz="2000" dirty="0">
                <a:solidFill>
                  <a:schemeClr val="bg1"/>
                </a:solidFill>
              </a:rPr>
              <a:t> Yang, </a:t>
            </a:r>
          </a:p>
          <a:p>
            <a:r>
              <a:rPr lang="en-US" sz="2000" dirty="0">
                <a:solidFill>
                  <a:schemeClr val="bg1"/>
                </a:solidFill>
              </a:rPr>
              <a:t>Benjamin </a:t>
            </a:r>
            <a:r>
              <a:rPr lang="en-US" sz="2000" dirty="0" err="1">
                <a:solidFill>
                  <a:schemeClr val="bg1"/>
                </a:solidFill>
              </a:rPr>
              <a:t>Buer</a:t>
            </a:r>
            <a:r>
              <a:rPr lang="en-US" sz="2000" dirty="0">
                <a:solidFill>
                  <a:schemeClr val="bg1"/>
                </a:solidFill>
              </a:rPr>
              <a:t> and Rebecca </a:t>
            </a:r>
            <a:r>
              <a:rPr lang="en-US" sz="2000" dirty="0" err="1">
                <a:solidFill>
                  <a:schemeClr val="bg1"/>
                </a:solidFill>
              </a:rPr>
              <a:t>Lowd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552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BDF2693-BF31-FDED-B615-EE4384C62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632" y="1221829"/>
            <a:ext cx="5092148" cy="546233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4A4E525-C22D-C17C-1640-4F77FBBBE1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9884" y="285008"/>
            <a:ext cx="5741203" cy="628798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C23DAC3-D22C-8B8E-D1F2-FC7AD795F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632" y="0"/>
            <a:ext cx="5092148" cy="1325563"/>
          </a:xfrm>
        </p:spPr>
        <p:txBody>
          <a:bodyPr>
            <a:normAutofit/>
          </a:bodyPr>
          <a:lstStyle/>
          <a:p>
            <a:r>
              <a:rPr lang="en-US" sz="3600" dirty="0"/>
              <a:t>Single cell ATAC-seq data </a:t>
            </a:r>
            <a:br>
              <a:rPr lang="en-US" sz="3600" dirty="0"/>
            </a:br>
            <a:r>
              <a:rPr lang="en-US" sz="3600" dirty="0"/>
              <a:t>of Ear tissu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043482-73AE-05F0-D0CD-F9FC2730D815}"/>
              </a:ext>
            </a:extLst>
          </p:cNvPr>
          <p:cNvSpPr txBox="1"/>
          <p:nvPr/>
        </p:nvSpPr>
        <p:spPr>
          <a:xfrm>
            <a:off x="8530486" y="5071580"/>
            <a:ext cx="24789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3,967 cell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F7265E-9388-3865-C926-FA3E6870B3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6030087"/>
            <a:ext cx="4866516" cy="725206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6AFDDFC-D3F5-4696-51E5-980A682C9BFB}"/>
              </a:ext>
            </a:extLst>
          </p:cNvPr>
          <p:cNvCxnSpPr>
            <a:cxnSpLocks/>
          </p:cNvCxnSpPr>
          <p:nvPr/>
        </p:nvCxnSpPr>
        <p:spPr>
          <a:xfrm flipV="1">
            <a:off x="4085112" y="615068"/>
            <a:ext cx="2016889" cy="3185036"/>
          </a:xfrm>
          <a:prstGeom prst="straightConnector1">
            <a:avLst/>
          </a:prstGeom>
          <a:ln w="412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1FC272F-F174-6EAE-0652-0D6892635E2C}"/>
              </a:ext>
            </a:extLst>
          </p:cNvPr>
          <p:cNvCxnSpPr>
            <a:cxnSpLocks/>
          </p:cNvCxnSpPr>
          <p:nvPr/>
        </p:nvCxnSpPr>
        <p:spPr>
          <a:xfrm>
            <a:off x="4079111" y="4697594"/>
            <a:ext cx="2016889" cy="1055188"/>
          </a:xfrm>
          <a:prstGeom prst="straightConnector1">
            <a:avLst/>
          </a:prstGeom>
          <a:ln w="412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9949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31DE31B-8D90-6D2B-82D8-A929F14366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244" y="1224337"/>
            <a:ext cx="10330543" cy="526433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B7A569F-F696-5705-3DAC-A85796D85D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825" y="0"/>
            <a:ext cx="11616621" cy="1325563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accent1">
                    <a:lumMod val="50000"/>
                  </a:schemeClr>
                </a:solidFill>
              </a:rPr>
              <a:t>Single cell ATAC-seq data contains cell specific inform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EF076E-1792-8F5F-9949-24AED42B694A}"/>
              </a:ext>
            </a:extLst>
          </p:cNvPr>
          <p:cNvSpPr txBox="1"/>
          <p:nvPr/>
        </p:nvSpPr>
        <p:spPr>
          <a:xfrm>
            <a:off x="7450667" y="14090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DR &lt;= 0.05 &amp; Log2FC &gt;= 1  2061 ge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E56300-7438-4D3D-356B-2ACDC920C5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244" y="6172884"/>
            <a:ext cx="4238147" cy="63156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1760F0A-24AB-E335-ED03-C2D9E6676783}"/>
              </a:ext>
            </a:extLst>
          </p:cNvPr>
          <p:cNvSpPr txBox="1"/>
          <p:nvPr/>
        </p:nvSpPr>
        <p:spPr>
          <a:xfrm>
            <a:off x="1524574" y="1224337"/>
            <a:ext cx="49406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Based on the ATAC-seq peak height at TSS of genes</a:t>
            </a:r>
          </a:p>
        </p:txBody>
      </p:sp>
    </p:spTree>
    <p:extLst>
      <p:ext uri="{BB962C8B-B14F-4D97-AF65-F5344CB8AC3E}">
        <p14:creationId xmlns:p14="http://schemas.microsoft.com/office/powerpoint/2010/main" val="4020575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BAC50AC-57D2-5DFF-6903-BC75E6F4DF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163" y="1056904"/>
            <a:ext cx="10279014" cy="58010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9239296-0945-BE60-FB16-83D7EDEF5F6F}"/>
              </a:ext>
            </a:extLst>
          </p:cNvPr>
          <p:cNvSpPr txBox="1"/>
          <p:nvPr/>
        </p:nvSpPr>
        <p:spPr>
          <a:xfrm>
            <a:off x="6107345" y="1535811"/>
            <a:ext cx="791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UB2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DC76F8-77A6-A253-5BB9-9CD659DEFEFC}"/>
              </a:ext>
            </a:extLst>
          </p:cNvPr>
          <p:cNvSpPr/>
          <p:nvPr/>
        </p:nvSpPr>
        <p:spPr>
          <a:xfrm>
            <a:off x="6626190" y="5327059"/>
            <a:ext cx="272742" cy="47403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358876-2DB6-CA16-3C88-AEC40C24611A}"/>
              </a:ext>
            </a:extLst>
          </p:cNvPr>
          <p:cNvSpPr/>
          <p:nvPr/>
        </p:nvSpPr>
        <p:spPr>
          <a:xfrm>
            <a:off x="9054953" y="4086651"/>
            <a:ext cx="272742" cy="27711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350E2E-D323-FCB4-0E2E-8E513BC7A199}"/>
              </a:ext>
            </a:extLst>
          </p:cNvPr>
          <p:cNvSpPr txBox="1"/>
          <p:nvPr/>
        </p:nvSpPr>
        <p:spPr>
          <a:xfrm>
            <a:off x="321163" y="347670"/>
            <a:ext cx="94314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Single cell ATAC-seq data helps to define cell type specific gen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66A236-C474-0330-CE71-AA5A5C39D6F9}"/>
              </a:ext>
            </a:extLst>
          </p:cNvPr>
          <p:cNvSpPr txBox="1"/>
          <p:nvPr/>
        </p:nvSpPr>
        <p:spPr>
          <a:xfrm>
            <a:off x="7241295" y="5240911"/>
            <a:ext cx="50227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c ATAC-seq detects cell specific expression of UB2, </a:t>
            </a:r>
          </a:p>
          <a:p>
            <a:r>
              <a:rPr lang="en-US" dirty="0"/>
              <a:t>which was not detected by sc RNA-seq</a:t>
            </a:r>
          </a:p>
        </p:txBody>
      </p:sp>
    </p:spTree>
    <p:extLst>
      <p:ext uri="{BB962C8B-B14F-4D97-AF65-F5344CB8AC3E}">
        <p14:creationId xmlns:p14="http://schemas.microsoft.com/office/powerpoint/2010/main" val="3548646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CD801-03C2-8564-6B0E-C6438197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34" y="-68011"/>
            <a:ext cx="10515600" cy="1325563"/>
          </a:xfrm>
        </p:spPr>
        <p:txBody>
          <a:bodyPr/>
          <a:lstStyle/>
          <a:p>
            <a:r>
              <a:rPr lang="en-US" dirty="0"/>
              <a:t>Identify marker pea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B0CB4E-32D9-CF04-E550-47CA24D35C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319" y="1073040"/>
            <a:ext cx="10712115" cy="561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8775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063260-CBA2-36D8-0A13-81267AB54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irwise Testing Between clust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B2A436-F279-8DA6-060D-871CC5EC2F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163" y="2109355"/>
            <a:ext cx="4868074" cy="4383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90CD6F-74DC-FC5D-F00D-E739C55EC8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1682" y="2139609"/>
            <a:ext cx="4413588" cy="43532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A6F603-2B73-C905-ADAA-42FCF6A0BD7E}"/>
              </a:ext>
            </a:extLst>
          </p:cNvPr>
          <p:cNvSpPr txBox="1"/>
          <p:nvPr/>
        </p:nvSpPr>
        <p:spPr>
          <a:xfrm>
            <a:off x="5143500" y="1527464"/>
            <a:ext cx="1089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2_vs_C6</a:t>
            </a:r>
          </a:p>
        </p:txBody>
      </p:sp>
    </p:spTree>
    <p:extLst>
      <p:ext uri="{BB962C8B-B14F-4D97-AF65-F5344CB8AC3E}">
        <p14:creationId xmlns:p14="http://schemas.microsoft.com/office/powerpoint/2010/main" val="3389935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6A404E8-245B-F837-D797-67D32FE4A1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3083" y="598794"/>
            <a:ext cx="9312029" cy="58898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31F50A5-0C9D-436D-0F28-4B5CB315D32C}"/>
              </a:ext>
            </a:extLst>
          </p:cNvPr>
          <p:cNvSpPr txBox="1"/>
          <p:nvPr/>
        </p:nvSpPr>
        <p:spPr>
          <a:xfrm>
            <a:off x="8369466" y="6488668"/>
            <a:ext cx="2236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Figure made by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ArchR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8696FA-52E7-0BD6-BD4E-242F5FFBDE76}"/>
              </a:ext>
            </a:extLst>
          </p:cNvPr>
          <p:cNvSpPr txBox="1"/>
          <p:nvPr/>
        </p:nvSpPr>
        <p:spPr>
          <a:xfrm>
            <a:off x="486888" y="1102763"/>
            <a:ext cx="12436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accent1">
                    <a:lumMod val="50000"/>
                  </a:schemeClr>
                </a:solidFill>
              </a:rPr>
              <a:t>QTL1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5F87EF-D419-734F-4470-4869EF3171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6371" y="557559"/>
            <a:ext cx="1104207" cy="1600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BD5B08-2124-93F6-F5E4-894EBF28AA9A}"/>
              </a:ext>
            </a:extLst>
          </p:cNvPr>
          <p:cNvSpPr txBox="1"/>
          <p:nvPr/>
        </p:nvSpPr>
        <p:spPr>
          <a:xfrm>
            <a:off x="543296" y="2470068"/>
            <a:ext cx="16704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TAC-seq peaks</a:t>
            </a:r>
          </a:p>
          <a:p>
            <a:r>
              <a:rPr lang="en-US" dirty="0"/>
              <a:t>for each clust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5043C1-78A1-F02D-CE92-A6D180AE5DF6}"/>
              </a:ext>
            </a:extLst>
          </p:cNvPr>
          <p:cNvSpPr txBox="1"/>
          <p:nvPr/>
        </p:nvSpPr>
        <p:spPr>
          <a:xfrm>
            <a:off x="170853" y="148656"/>
            <a:ext cx="1259512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80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Single cell ATAC-seq Peak shows chromatin open 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  <a:latin typeface="Helvetica Neue" panose="02000503000000020004" pitchFamily="2" charset="0"/>
              </a:rPr>
              <a:t>region </a:t>
            </a:r>
            <a:r>
              <a:rPr lang="en-US" sz="280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difference among clusters </a:t>
            </a:r>
          </a:p>
        </p:txBody>
      </p:sp>
    </p:spTree>
    <p:extLst>
      <p:ext uri="{BB962C8B-B14F-4D97-AF65-F5344CB8AC3E}">
        <p14:creationId xmlns:p14="http://schemas.microsoft.com/office/powerpoint/2010/main" val="3254862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292A3D6-0843-DD7C-15EF-8C72E0C888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3996" y="311150"/>
            <a:ext cx="6565900" cy="62357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D0E8CC-30EE-BAA5-FB91-1940DC8EF691}"/>
              </a:ext>
            </a:extLst>
          </p:cNvPr>
          <p:cNvSpPr/>
          <p:nvPr/>
        </p:nvSpPr>
        <p:spPr>
          <a:xfrm>
            <a:off x="7377006" y="5277053"/>
            <a:ext cx="1940582" cy="50051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236726-F004-4F35-62EF-488D6F8D06DC}"/>
              </a:ext>
            </a:extLst>
          </p:cNvPr>
          <p:cNvSpPr txBox="1"/>
          <p:nvPr/>
        </p:nvSpPr>
        <p:spPr>
          <a:xfrm>
            <a:off x="1056261" y="2890391"/>
            <a:ext cx="313048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FF0000"/>
                </a:solidFill>
                <a:effectLst/>
                <a:latin typeface="Roboto" panose="020F0502020204030204" pitchFamily="34" charset="0"/>
              </a:rPr>
              <a:t>Zm00001d021906</a:t>
            </a:r>
            <a:r>
              <a:rPr lang="en-US" b="0" i="0" dirty="0">
                <a:solidFill>
                  <a:srgbClr val="4D5156"/>
                </a:solidFill>
                <a:effectLst/>
                <a:latin typeface="Roboto" panose="020F0502020204030204" pitchFamily="34" charset="0"/>
              </a:rPr>
              <a:t> </a:t>
            </a:r>
            <a:r>
              <a:rPr lang="en-US" b="0" i="0" dirty="0">
                <a:solidFill>
                  <a:srgbClr val="FF0000"/>
                </a:solidFill>
                <a:effectLst/>
                <a:latin typeface="Roboto" panose="020F0502020204030204" pitchFamily="34" charset="0"/>
              </a:rPr>
              <a:t>(lhca2): </a:t>
            </a:r>
            <a:r>
              <a:rPr lang="en-US" b="0" i="0" dirty="0">
                <a:solidFill>
                  <a:srgbClr val="4D5156"/>
                </a:solidFill>
                <a:effectLst/>
                <a:latin typeface="Roboto" panose="020F0502020204030204" pitchFamily="34" charset="0"/>
              </a:rPr>
              <a:t>is important for maize to improve photosynthesis under abiotic stresses, such as drought and low temperature</a:t>
            </a:r>
            <a:endParaRPr lang="en-US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EB11D2-8974-A963-2D71-E52D7E9209C4}"/>
              </a:ext>
            </a:extLst>
          </p:cNvPr>
          <p:cNvSpPr/>
          <p:nvPr/>
        </p:nvSpPr>
        <p:spPr>
          <a:xfrm>
            <a:off x="8390068" y="137893"/>
            <a:ext cx="223024" cy="6567779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0844415-51E4-945B-F0ED-6CFC2C20F2BD}"/>
              </a:ext>
            </a:extLst>
          </p:cNvPr>
          <p:cNvSpPr txBox="1"/>
          <p:nvPr/>
        </p:nvSpPr>
        <p:spPr>
          <a:xfrm>
            <a:off x="242104" y="282788"/>
            <a:ext cx="5286497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80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Marker ATAC-seq Peak shows gene Transcrip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  <a:latin typeface="Helvetica Neue" panose="02000503000000020004" pitchFamily="2" charset="0"/>
              </a:rPr>
              <a:t>tion </a:t>
            </a:r>
            <a:r>
              <a:rPr lang="en-US" sz="280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Start Site open level difference among clusters </a:t>
            </a:r>
          </a:p>
        </p:txBody>
      </p:sp>
    </p:spTree>
    <p:extLst>
      <p:ext uri="{BB962C8B-B14F-4D97-AF65-F5344CB8AC3E}">
        <p14:creationId xmlns:p14="http://schemas.microsoft.com/office/powerpoint/2010/main" val="3603363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FE41A-FC8F-F6FB-D4D6-4ED501536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675" y="706530"/>
            <a:ext cx="11304248" cy="1325563"/>
          </a:xfrm>
        </p:spPr>
        <p:txBody>
          <a:bodyPr>
            <a:normAutofit/>
          </a:bodyPr>
          <a:lstStyle/>
          <a:p>
            <a:r>
              <a:rPr lang="en-US" sz="2400" dirty="0"/>
              <a:t>Motif enrichment difference between C2 and C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A5A939-D155-E8DA-52D3-AB867B9227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42673"/>
            <a:ext cx="6137491" cy="53490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4F33E2B-F048-1698-311F-A582AD468B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4509" y="1565074"/>
            <a:ext cx="6137491" cy="53054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EF8B68A-6BF1-E02B-3DA7-F80AB130F3B1}"/>
              </a:ext>
            </a:extLst>
          </p:cNvPr>
          <p:cNvSpPr txBox="1"/>
          <p:nvPr/>
        </p:nvSpPr>
        <p:spPr>
          <a:xfrm>
            <a:off x="4013733" y="1980778"/>
            <a:ext cx="1742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2 enrich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998E91-48B5-62D6-F769-600EF1BD498C}"/>
              </a:ext>
            </a:extLst>
          </p:cNvPr>
          <p:cNvSpPr txBox="1"/>
          <p:nvPr/>
        </p:nvSpPr>
        <p:spPr>
          <a:xfrm>
            <a:off x="10004377" y="1980778"/>
            <a:ext cx="1742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6 enriched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7FBA06-0721-5A9E-349E-6975942C8DFC}"/>
              </a:ext>
            </a:extLst>
          </p:cNvPr>
          <p:cNvSpPr txBox="1"/>
          <p:nvPr/>
        </p:nvSpPr>
        <p:spPr>
          <a:xfrm>
            <a:off x="10549288" y="1345511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OM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C81EE1-3AD9-C892-6E32-F525094A05F4}"/>
              </a:ext>
            </a:extLst>
          </p:cNvPr>
          <p:cNvSpPr txBox="1"/>
          <p:nvPr/>
        </p:nvSpPr>
        <p:spPr>
          <a:xfrm>
            <a:off x="4013733" y="2868236"/>
            <a:ext cx="16001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ZNF692.Zf_330</a:t>
            </a:r>
          </a:p>
          <a:p>
            <a:r>
              <a:rPr lang="en-US" dirty="0">
                <a:solidFill>
                  <a:srgbClr val="FF0000"/>
                </a:solidFill>
              </a:rPr>
              <a:t>Sp1.Zf_26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56F571-B90D-EC64-9DCA-9E33847DDC03}"/>
              </a:ext>
            </a:extLst>
          </p:cNvPr>
          <p:cNvSpPr txBox="1"/>
          <p:nvPr/>
        </p:nvSpPr>
        <p:spPr>
          <a:xfrm>
            <a:off x="10004377" y="2545070"/>
            <a:ext cx="177478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tat3.Stat_275</a:t>
            </a:r>
          </a:p>
          <a:p>
            <a:r>
              <a:rPr lang="en-US" dirty="0">
                <a:solidFill>
                  <a:srgbClr val="FF0000"/>
                </a:solidFill>
              </a:rPr>
              <a:t>HRE.HSF_134</a:t>
            </a:r>
          </a:p>
          <a:p>
            <a:r>
              <a:rPr lang="en-US" dirty="0">
                <a:solidFill>
                  <a:srgbClr val="FF0000"/>
                </a:solidFill>
              </a:rPr>
              <a:t>E2A.bHLH_51</a:t>
            </a:r>
          </a:p>
          <a:p>
            <a:r>
              <a:rPr lang="en-US" dirty="0">
                <a:solidFill>
                  <a:srgbClr val="FF0000"/>
                </a:solidFill>
              </a:rPr>
              <a:t>Tcf12.bHLH_266</a:t>
            </a:r>
          </a:p>
          <a:p>
            <a:r>
              <a:rPr lang="en-US" dirty="0">
                <a:solidFill>
                  <a:srgbClr val="FF0000"/>
                </a:solidFill>
              </a:rPr>
              <a:t>HIF2a.bHLH_124</a:t>
            </a:r>
          </a:p>
          <a:p>
            <a:r>
              <a:rPr lang="en-US" dirty="0">
                <a:solidFill>
                  <a:srgbClr val="FF0000"/>
                </a:solidFill>
              </a:rPr>
              <a:t>MyoD.bHLH_17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2E4E0C-D6B4-C6E3-3773-93EA04B99B5B}"/>
              </a:ext>
            </a:extLst>
          </p:cNvPr>
          <p:cNvSpPr txBox="1"/>
          <p:nvPr/>
        </p:nvSpPr>
        <p:spPr>
          <a:xfrm>
            <a:off x="328866" y="131266"/>
            <a:ext cx="1096786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0" dirty="0">
                <a:solidFill>
                  <a:schemeClr val="accent1">
                    <a:lumMod val="50000"/>
                  </a:schemeClr>
                </a:solidFill>
                <a:effectLst/>
                <a:latin typeface="Helvetica Neue" panose="02000503000000020004" pitchFamily="2" charset="0"/>
              </a:rPr>
              <a:t>Single cell ATAC-seq predict motif and transcription factors from accessible chromatin sites.</a:t>
            </a:r>
            <a:endParaRPr lang="en-US" sz="28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9229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43</Words>
  <Application>Microsoft Macintosh PowerPoint</Application>
  <PresentationFormat>Widescreen</PresentationFormat>
  <Paragraphs>40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Helvetica Neue</vt:lpstr>
      <vt:lpstr>Roboto</vt:lpstr>
      <vt:lpstr>Office Theme</vt:lpstr>
      <vt:lpstr>Single cell sequence data to facilitate Maize kernel row number gene discovery</vt:lpstr>
      <vt:lpstr>Single cell ATAC-seq data  of Ear tissue</vt:lpstr>
      <vt:lpstr>Single cell ATAC-seq data contains cell specific information</vt:lpstr>
      <vt:lpstr>PowerPoint Presentation</vt:lpstr>
      <vt:lpstr>Identify marker peaks</vt:lpstr>
      <vt:lpstr>Pairwise Testing Between clusters</vt:lpstr>
      <vt:lpstr>PowerPoint Presentation</vt:lpstr>
      <vt:lpstr>PowerPoint Presentation</vt:lpstr>
      <vt:lpstr>Motif enrichment difference between C2 and C6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ngle cell ATAC-seq data  of Ear tissue</dc:title>
  <dc:creator>Lin Du</dc:creator>
  <cp:lastModifiedBy>Lin Du</cp:lastModifiedBy>
  <cp:revision>2</cp:revision>
  <dcterms:created xsi:type="dcterms:W3CDTF">2023-08-02T14:26:23Z</dcterms:created>
  <dcterms:modified xsi:type="dcterms:W3CDTF">2023-08-02T14:3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3-08-02T14:33:14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ActionId">
    <vt:lpwstr>0b83cc71-49a0-4e56-9c3c-66b0344a1db3</vt:lpwstr>
  </property>
  <property fmtid="{D5CDD505-2E9C-101B-9397-08002B2CF9AE}" pid="8" name="MSIP_Label_2c76c141-ac86-40e5-abf2-c6f60e474cee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RESTRICTED</vt:lpwstr>
  </property>
</Properties>
</file>